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73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00"/>
    <a:srgbClr val="7AFF7A"/>
    <a:srgbClr val="00FFFF"/>
    <a:srgbClr val="00B0F0"/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833" autoAdjust="0"/>
    <p:restoredTop sz="94660"/>
  </p:normalViewPr>
  <p:slideViewPr>
    <p:cSldViewPr snapToGrid="0" showGuides="1">
      <p:cViewPr varScale="1">
        <p:scale>
          <a:sx n="106" d="100"/>
          <a:sy n="106" d="100"/>
        </p:scale>
        <p:origin x="1446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31/07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31/07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3.emf"/><Relationship Id="rId2" Type="http://schemas.openxmlformats.org/officeDocument/2006/relationships/tags" Target="../tags/tag2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.emf"/><Relationship Id="rId2" Type="http://schemas.openxmlformats.org/officeDocument/2006/relationships/tags" Target="../tags/tag2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27432377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4754564" y="1489076"/>
            <a:ext cx="38862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4754564" y="3844925"/>
            <a:ext cx="388620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243088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9288" y="3844925"/>
            <a:ext cx="38862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4751388" y="3844925"/>
            <a:ext cx="3889375" cy="21399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008366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124575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874569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4751388" y="1489076"/>
            <a:ext cx="3889375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3844925"/>
            <a:ext cx="3889375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75538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0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47700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 hasCustomPrompt="1"/>
          </p:nvPr>
        </p:nvSpPr>
        <p:spPr>
          <a:xfrm>
            <a:off x="6119813" y="1489075"/>
            <a:ext cx="2520950" cy="180339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 hasCustomPrompt="1"/>
          </p:nvPr>
        </p:nvSpPr>
        <p:spPr>
          <a:xfrm>
            <a:off x="6124575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376370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019300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2019300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4751388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019905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019300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2019300" y="384492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4751388" y="384492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879785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1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647701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3386138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 hasCustomPrompt="1"/>
          </p:nvPr>
        </p:nvSpPr>
        <p:spPr>
          <a:xfrm>
            <a:off x="3386138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 hasCustomPrompt="1"/>
          </p:nvPr>
        </p:nvSpPr>
        <p:spPr>
          <a:xfrm>
            <a:off x="6124575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6124575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327125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1484313"/>
            <a:ext cx="2520354" cy="2144712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3384055" y="1484313"/>
            <a:ext cx="2520354" cy="2144712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6120410" y="1484313"/>
            <a:ext cx="2520354" cy="21447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 hasCustomPrompt="1"/>
          </p:nvPr>
        </p:nvSpPr>
        <p:spPr>
          <a:xfrm>
            <a:off x="647700" y="3844925"/>
            <a:ext cx="252095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 hasCustomPrompt="1"/>
          </p:nvPr>
        </p:nvSpPr>
        <p:spPr>
          <a:xfrm>
            <a:off x="3384550" y="3844925"/>
            <a:ext cx="2519363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 hasCustomPrompt="1"/>
          </p:nvPr>
        </p:nvSpPr>
        <p:spPr>
          <a:xfrm>
            <a:off x="6119813" y="3844925"/>
            <a:ext cx="252095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058109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3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097105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7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           The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Group is formed by the union of two strong brands, 		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and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Gebo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Cermex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performance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of their lines, products	          and businesses. 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	       Delivering this level of performance requires that we continuously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understand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value chains. We complement this by applying our strong technical knowledge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1000" b="1" dirty="0">
                <a:solidFill>
                  <a:srgbClr val="FFFFFF"/>
                </a:solidFill>
                <a:latin typeface="Arial"/>
              </a:rPr>
              <a:t>                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We call it </a:t>
            </a:r>
            <a:r>
              <a:rPr lang="en-GB" sz="1000" b="1" dirty="0">
                <a:solidFill>
                  <a:srgbClr val="FFFFFF"/>
                </a:solidFill>
                <a:latin typeface="Arial"/>
              </a:rPr>
              <a:t>Performance through Understanding.</a:t>
            </a:r>
            <a:endParaRPr lang="en-GB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234201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3438042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279784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534833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80429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0" y="1489076"/>
            <a:ext cx="2516188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395492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1489076"/>
            <a:ext cx="7993063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360628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334800"/>
            <a:ext cx="7993063" cy="5650075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383439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6124575" y="3844925"/>
            <a:ext cx="2516188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432573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2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1" name="think-cell Folie" r:id="rId26" imgW="399" imgH="399" progId="TCLayout.ActiveDocument.1">
                  <p:embed/>
                </p:oleObj>
              </mc:Choice>
              <mc:Fallback>
                <p:oleObj name="think-cell Folie" r:id="rId2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3270126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solidFill>
                  <a:srgbClr val="7F7F7F"/>
                </a:solidFill>
              </a:rPr>
              <a:t>HS123 – New Slave Cards for Filling Valve</a:t>
            </a:r>
            <a:r>
              <a:rPr lang="en-GB">
                <a:solidFill>
                  <a:srgbClr val="7F7F7F"/>
                </a:solidFill>
              </a:rPr>
              <a:t>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31 July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9003B862-1466-45E0-8856-BC1A07BA4C3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  <p:sldLayoutId id="2147483709" r:id="rId17"/>
    <p:sldLayoutId id="2147483710" r:id="rId18"/>
    <p:sldLayoutId id="2147483711" r:id="rId19"/>
    <p:sldLayoutId id="2147483712" r:id="rId20"/>
    <p:sldLayoutId id="2147483713" r:id="rId2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">
            <a:extLst>
              <a:ext uri="{FF2B5EF4-FFF2-40B4-BE49-F238E27FC236}">
                <a16:creationId xmlns:a16="http://schemas.microsoft.com/office/drawing/2014/main" id="{83E5013C-5D0D-4A9C-8940-83421368D241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106"/>
            <a:ext cx="7991475" cy="4041776"/>
            <a:chOff x="650875" y="1906524"/>
            <a:chExt cx="7991475" cy="4042232"/>
          </a:xfrm>
        </p:grpSpPr>
        <p:sp>
          <p:nvSpPr>
            <p:cNvPr id="27" name="Rechteck 3">
              <a:extLst>
                <a:ext uri="{FF2B5EF4-FFF2-40B4-BE49-F238E27FC236}">
                  <a16:creationId xmlns:a16="http://schemas.microsoft.com/office/drawing/2014/main" id="{C998EAC3-7558-4E25-9F1D-29D346D83B97}"/>
                </a:ext>
              </a:extLst>
            </p:cNvPr>
            <p:cNvSpPr/>
            <p:nvPr/>
          </p:nvSpPr>
          <p:spPr>
            <a:xfrm>
              <a:off x="650875" y="1906525"/>
              <a:ext cx="3889375" cy="37628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cap="none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/>
                  <a:ea typeface="MS PGothic" pitchFamily="34" charset="-128"/>
                  <a:cs typeface="+mn-cs"/>
                </a:rPr>
                <a:t>NUTZEN UND VORTEILE</a:t>
              </a:r>
            </a:p>
          </p:txBody>
        </p:sp>
        <p:sp>
          <p:nvSpPr>
            <p:cNvPr id="28" name="Rechteck 4">
              <a:extLst>
                <a:ext uri="{FF2B5EF4-FFF2-40B4-BE49-F238E27FC236}">
                  <a16:creationId xmlns:a16="http://schemas.microsoft.com/office/drawing/2014/main" id="{DE8680D9-5474-4E42-BE11-6F8DE9AE8E9C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Rechteck 11">
              <a:extLst>
                <a:ext uri="{FF2B5EF4-FFF2-40B4-BE49-F238E27FC236}">
                  <a16:creationId xmlns:a16="http://schemas.microsoft.com/office/drawing/2014/main" id="{3F9D5519-A657-4E32-B7A4-24192BDF5440}"/>
                </a:ext>
              </a:extLst>
            </p:cNvPr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cap="none" normalizeH="0" baseline="0" noProof="1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BESCHREIBUNG</a:t>
              </a:r>
            </a:p>
          </p:txBody>
        </p:sp>
        <p:sp>
          <p:nvSpPr>
            <p:cNvPr id="30" name="Rechteck 12">
              <a:extLst>
                <a:ext uri="{FF2B5EF4-FFF2-40B4-BE49-F238E27FC236}">
                  <a16:creationId xmlns:a16="http://schemas.microsoft.com/office/drawing/2014/main" id="{FE586EB8-3D2D-4331-B8DE-94D766C8F370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8356963" cy="923330"/>
          </a:xfrm>
        </p:spPr>
        <p:txBody>
          <a:bodyPr/>
          <a:lstStyle/>
          <a:p>
            <a:r>
              <a:rPr lang="de-DE" altLang="fr-FR" dirty="0"/>
              <a:t>Steigern Sie die Effizienz und sichern Sie die Produktqualität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11376"/>
            <a:ext cx="7997825" cy="307975"/>
          </a:xfrm>
        </p:spPr>
        <p:txBody>
          <a:bodyPr/>
          <a:lstStyle/>
          <a:p>
            <a:r>
              <a:rPr lang="en-US" dirty="0" err="1"/>
              <a:t>Leerdosenauswurfsystem</a:t>
            </a:r>
            <a:endParaRPr lang="fr-FR" altLang="fr-FR" dirty="0"/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6" name="Rechteck 4"/>
          <p:cNvSpPr>
            <a:spLocks/>
          </p:cNvSpPr>
          <p:nvPr/>
        </p:nvSpPr>
        <p:spPr bwMode="auto">
          <a:xfrm>
            <a:off x="649288" y="2146344"/>
            <a:ext cx="3889375" cy="366553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hteck 12"/>
          <p:cNvSpPr>
            <a:spLocks/>
          </p:cNvSpPr>
          <p:nvPr/>
        </p:nvSpPr>
        <p:spPr bwMode="auto">
          <a:xfrm>
            <a:off x="4751388" y="2159046"/>
            <a:ext cx="3889375" cy="365283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宋体" charset="-122"/>
              <a:cs typeface="+mn-cs"/>
            </a:endParaRPr>
          </a:p>
        </p:txBody>
      </p:sp>
      <p:sp>
        <p:nvSpPr>
          <p:cNvPr id="19" name="Rectangle 6"/>
          <p:cNvSpPr/>
          <p:nvPr/>
        </p:nvSpPr>
        <p:spPr>
          <a:xfrm>
            <a:off x="647700" y="2259384"/>
            <a:ext cx="3890963" cy="27884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200" dirty="0">
                <a:solidFill>
                  <a:srgbClr val="000000"/>
                </a:solidFill>
              </a:rPr>
              <a:t>Das Dosenauswurfsystem eliminiert das Risiko eines Absturzes der Dose und reduziert </a:t>
            </a:r>
            <a:r>
              <a:rPr lang="de-DE" sz="1200" dirty="0" err="1">
                <a:solidFill>
                  <a:srgbClr val="000000"/>
                </a:solidFill>
              </a:rPr>
              <a:t>Maschinenstillstandszeiten</a:t>
            </a:r>
            <a:endParaRPr lang="en-US" sz="1200" dirty="0">
              <a:solidFill>
                <a:srgbClr val="000000"/>
              </a:solidFill>
            </a:endParaRP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</a:endParaRP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</a:endParaRP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</a:endParaRP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</a:endParaRP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</a:endParaRP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</a:endParaRP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</a:endParaRP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25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817276" y="2259383"/>
            <a:ext cx="3823487" cy="21051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altLang="it-IT" sz="1200" dirty="0"/>
              <a:t>Die </a:t>
            </a:r>
            <a:r>
              <a:rPr lang="de-DE" altLang="it-IT" sz="1200" dirty="0" err="1"/>
              <a:t>Seamer</a:t>
            </a:r>
            <a:r>
              <a:rPr lang="de-DE" altLang="it-IT" sz="1200" dirty="0"/>
              <a:t>-Versorgung besteht aus dem Einlegetisch für das Dosenauswurfsystem (inkl. Neuer Seitenführungen, Dosenführung, Anschlussteile).</a:t>
            </a:r>
          </a:p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altLang="it-IT" sz="1200" dirty="0"/>
              <a:t>Die Füllstoffversorgung besteht aus: Dosenauswurfsystem (pneumatischer Auswerfer, pneumatische Modifikation und elektrisches Drahtmaterial), Softwaremodifikation, Dokumentationsaktualisierung.</a:t>
            </a:r>
            <a:endParaRPr lang="en-US" altLang="it-IT" sz="1200" dirty="0"/>
          </a:p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altLang="it-IT" sz="1200" dirty="0"/>
          </a:p>
        </p:txBody>
      </p:sp>
      <p:pic>
        <p:nvPicPr>
          <p:cNvPr id="39" name="Immagine 4">
            <a:extLst>
              <a:ext uri="{FF2B5EF4-FFF2-40B4-BE49-F238E27FC236}">
                <a16:creationId xmlns:a16="http://schemas.microsoft.com/office/drawing/2014/main" id="{DC950569-CE4A-4E7D-9D0D-6A9442D792C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26" t="14513" r="9135" b="2721"/>
          <a:stretch>
            <a:fillRect/>
          </a:stretch>
        </p:blipFill>
        <p:spPr bwMode="auto">
          <a:xfrm>
            <a:off x="1702330" y="3429000"/>
            <a:ext cx="1781701" cy="22274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E1C81792-D6B9-4F62-96E7-CAD28C895016}"/>
              </a:ext>
            </a:extLst>
          </p:cNvPr>
          <p:cNvSpPr txBox="1">
            <a:spLocks/>
          </p:cNvSpPr>
          <p:nvPr/>
        </p:nvSpPr>
        <p:spPr bwMode="auto">
          <a:xfrm>
            <a:off x="647700" y="5912218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lang="de-DE" sz="800" dirty="0">
                <a:solidFill>
                  <a:srgbClr val="000000"/>
                </a:solidFill>
              </a:rPr>
              <a:t>Nutzen: Effizienz, Produktqualität</a:t>
            </a:r>
          </a:p>
          <a:p>
            <a:pPr lvl="0" fontAlgn="base">
              <a:spcAft>
                <a:spcPct val="0"/>
              </a:spcAft>
              <a:defRPr/>
            </a:pPr>
            <a:r>
              <a:rPr kumimoji="0" lang="de-DE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usstattung: </a:t>
            </a:r>
            <a:r>
              <a:rPr lang="sv-SE" altLang="it-IT" sz="800" dirty="0"/>
              <a:t>Can Regular Fillers, </a:t>
            </a:r>
            <a:r>
              <a:rPr lang="it-IT" altLang="it-IT" sz="800" dirty="0"/>
              <a:t>Filler Evofill Can (RME SF330)</a:t>
            </a:r>
            <a:r>
              <a:rPr lang="en-US" altLang="it-IT" sz="800" kern="0" dirty="0">
                <a:solidFill>
                  <a:srgbClr val="000000"/>
                </a:solidFill>
                <a:ea typeface="ＭＳ Ｐゴシック"/>
              </a:rPr>
              <a:t> </a:t>
            </a:r>
            <a:r>
              <a:rPr lang="de-DE" sz="80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+mn-cs"/>
              </a:rPr>
              <a:t> </a:t>
            </a:r>
          </a:p>
          <a:p>
            <a:pPr lvl="0" fontAlgn="base">
              <a:spcAft>
                <a:spcPct val="0"/>
              </a:spcAft>
              <a:defRPr/>
            </a:pPr>
            <a:r>
              <a:rPr kumimoji="0" lang="de-DE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atalog-Code: HS124</a:t>
            </a:r>
          </a:p>
        </p:txBody>
      </p:sp>
    </p:spTree>
    <p:extLst>
      <p:ext uri="{BB962C8B-B14F-4D97-AF65-F5344CB8AC3E}">
        <p14:creationId xmlns:p14="http://schemas.microsoft.com/office/powerpoint/2010/main" val="22389896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5</TotalTime>
  <Words>86</Words>
  <Application>Microsoft Office PowerPoint</Application>
  <PresentationFormat>Affichage à l'écran (4:3)</PresentationFormat>
  <Paragraphs>16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8" baseType="lpstr">
      <vt:lpstr>MS PGothic</vt:lpstr>
      <vt:lpstr>MS PGothic</vt:lpstr>
      <vt:lpstr>宋体</vt:lpstr>
      <vt:lpstr>Arial</vt:lpstr>
      <vt:lpstr>Wingdings</vt:lpstr>
      <vt:lpstr>1_NewSidel_Template_4x3_with add layouts</vt:lpstr>
      <vt:lpstr>think-cell Folie</vt:lpstr>
      <vt:lpstr>Steigern Sie die Effizienz und sichern Sie die Produktqualität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22</cp:revision>
  <dcterms:created xsi:type="dcterms:W3CDTF">2018-02-10T17:04:39Z</dcterms:created>
  <dcterms:modified xsi:type="dcterms:W3CDTF">2019-07-31T11:33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19-07-31T11:33:36.4702352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